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8" r:id="rId2"/>
    <p:sldId id="257" r:id="rId3"/>
  </p:sldIdLst>
  <p:sldSz cx="9906000" cy="6858000" type="A4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4660"/>
  </p:normalViewPr>
  <p:slideViewPr>
    <p:cSldViewPr>
      <p:cViewPr varScale="1">
        <p:scale>
          <a:sx n="97" d="100"/>
          <a:sy n="97" d="100"/>
        </p:scale>
        <p:origin x="106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EA3534-28C8-435C-9A5B-7F5F25AEC429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A51FE-8841-49BE-B540-1487B89DDA8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2530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会社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8C6A2519-A03D-D00A-9D17-59D691A40FE6}"/>
              </a:ext>
            </a:extLst>
          </p:cNvPr>
          <p:cNvGrpSpPr/>
          <p:nvPr/>
        </p:nvGrpSpPr>
        <p:grpSpPr>
          <a:xfrm>
            <a:off x="9016587" y="6347876"/>
            <a:ext cx="889414" cy="510124"/>
            <a:chOff x="9016586" y="6347876"/>
            <a:chExt cx="889414" cy="510124"/>
          </a:xfrm>
        </p:grpSpPr>
        <p:sp>
          <p:nvSpPr>
            <p:cNvPr id="11" name="フリーフォーム: 図形 10">
              <a:extLst>
                <a:ext uri="{FF2B5EF4-FFF2-40B4-BE49-F238E27FC236}">
                  <a16:creationId xmlns:a16="http://schemas.microsoft.com/office/drawing/2014/main" id="{82AF1EE1-4B00-A268-1CDC-C8B02CADF81A}"/>
                </a:ext>
              </a:extLst>
            </p:cNvPr>
            <p:cNvSpPr/>
            <p:nvPr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463"/>
            </a:p>
          </p:txBody>
        </p:sp>
        <p:sp>
          <p:nvSpPr>
            <p:cNvPr id="7" name="二等辺三角形 6">
              <a:extLst>
                <a:ext uri="{FF2B5EF4-FFF2-40B4-BE49-F238E27FC236}">
                  <a16:creationId xmlns:a16="http://schemas.microsoft.com/office/drawing/2014/main" id="{2DC3EAD9-3430-4652-084B-6900A40A2EBD}"/>
                </a:ext>
              </a:extLst>
            </p:cNvPr>
            <p:cNvSpPr/>
            <p:nvPr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63"/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4B275D0-D13A-6E88-B566-36E8D792BDB2}"/>
              </a:ext>
            </a:extLst>
          </p:cNvPr>
          <p:cNvGrpSpPr/>
          <p:nvPr/>
        </p:nvGrpSpPr>
        <p:grpSpPr>
          <a:xfrm>
            <a:off x="1" y="2"/>
            <a:ext cx="579585" cy="333921"/>
            <a:chOff x="0" y="0"/>
            <a:chExt cx="579585" cy="333921"/>
          </a:xfrm>
        </p:grpSpPr>
        <p:sp>
          <p:nvSpPr>
            <p:cNvPr id="10" name="フリーフォーム: 図形 9">
              <a:extLst>
                <a:ext uri="{FF2B5EF4-FFF2-40B4-BE49-F238E27FC236}">
                  <a16:creationId xmlns:a16="http://schemas.microsoft.com/office/drawing/2014/main" id="{1A205E2B-19AD-A45C-1DAA-F9BFA8C65EB1}"/>
                </a:ext>
              </a:extLst>
            </p:cNvPr>
            <p:cNvSpPr/>
            <p:nvPr/>
          </p:nvSpPr>
          <p:spPr>
            <a:xfrm>
              <a:off x="0" y="0"/>
              <a:ext cx="579585" cy="333921"/>
            </a:xfrm>
            <a:custGeom>
              <a:avLst/>
              <a:gdLst>
                <a:gd name="connsiteX0" fmla="*/ 186910 w 579585"/>
                <a:gd name="connsiteY0" fmla="*/ 0 h 333921"/>
                <a:gd name="connsiteX1" fmla="*/ 579585 w 579585"/>
                <a:gd name="connsiteY1" fmla="*/ 0 h 333921"/>
                <a:gd name="connsiteX2" fmla="*/ 567177 w 579585"/>
                <a:gd name="connsiteY2" fmla="*/ 47805 h 333921"/>
                <a:gd name="connsiteX3" fmla="*/ 515006 w 579585"/>
                <a:gd name="connsiteY3" fmla="*/ 104633 h 333921"/>
                <a:gd name="connsiteX4" fmla="*/ 278605 w 579585"/>
                <a:gd name="connsiteY4" fmla="*/ 192346 h 333921"/>
                <a:gd name="connsiteX5" fmla="*/ 115581 w 579585"/>
                <a:gd name="connsiteY5" fmla="*/ 238879 h 333921"/>
                <a:gd name="connsiteX6" fmla="*/ 13649 w 579585"/>
                <a:gd name="connsiteY6" fmla="*/ 311346 h 333921"/>
                <a:gd name="connsiteX7" fmla="*/ 0 w 579585"/>
                <a:gd name="connsiteY7" fmla="*/ 333921 h 333921"/>
                <a:gd name="connsiteX8" fmla="*/ 0 w 579585"/>
                <a:gd name="connsiteY8" fmla="*/ 105625 h 333921"/>
                <a:gd name="connsiteX9" fmla="*/ 12398 w 579585"/>
                <a:gd name="connsiteY9" fmla="*/ 88239 h 333921"/>
                <a:gd name="connsiteX10" fmla="*/ 42151 w 579585"/>
                <a:gd name="connsiteY10" fmla="*/ 62817 h 333921"/>
                <a:gd name="connsiteX11" fmla="*/ 168780 w 579585"/>
                <a:gd name="connsiteY11" fmla="*/ 4930 h 33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585" h="333921">
                  <a:moveTo>
                    <a:pt x="186910" y="0"/>
                  </a:moveTo>
                  <a:lnTo>
                    <a:pt x="579585" y="0"/>
                  </a:lnTo>
                  <a:lnTo>
                    <a:pt x="567177" y="47805"/>
                  </a:lnTo>
                  <a:cubicBezTo>
                    <a:pt x="554881" y="70402"/>
                    <a:pt x="537120" y="90025"/>
                    <a:pt x="515006" y="104633"/>
                  </a:cubicBezTo>
                  <a:cubicBezTo>
                    <a:pt x="515006" y="104633"/>
                    <a:pt x="451248" y="154107"/>
                    <a:pt x="278605" y="192346"/>
                  </a:cubicBezTo>
                  <a:cubicBezTo>
                    <a:pt x="223301" y="204273"/>
                    <a:pt x="168844" y="219818"/>
                    <a:pt x="115581" y="238879"/>
                  </a:cubicBezTo>
                  <a:cubicBezTo>
                    <a:pt x="87243" y="251052"/>
                    <a:pt x="45811" y="267500"/>
                    <a:pt x="13649" y="311346"/>
                  </a:cubicBezTo>
                  <a:lnTo>
                    <a:pt x="0" y="333921"/>
                  </a:lnTo>
                  <a:lnTo>
                    <a:pt x="0" y="105625"/>
                  </a:lnTo>
                  <a:lnTo>
                    <a:pt x="12398" y="88239"/>
                  </a:lnTo>
                  <a:cubicBezTo>
                    <a:pt x="21137" y="78682"/>
                    <a:pt x="31100" y="70123"/>
                    <a:pt x="42151" y="62817"/>
                  </a:cubicBezTo>
                  <a:cubicBezTo>
                    <a:pt x="42151" y="62817"/>
                    <a:pt x="78014" y="34988"/>
                    <a:pt x="168780" y="4930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463"/>
            </a:p>
          </p:txBody>
        </p:sp>
        <p:sp>
          <p:nvSpPr>
            <p:cNvPr id="9" name="二等辺三角形 8">
              <a:extLst>
                <a:ext uri="{FF2B5EF4-FFF2-40B4-BE49-F238E27FC236}">
                  <a16:creationId xmlns:a16="http://schemas.microsoft.com/office/drawing/2014/main" id="{90517255-DA5B-6E4C-5949-CE472B7F2158}"/>
                </a:ext>
              </a:extLst>
            </p:cNvPr>
            <p:cNvSpPr/>
            <p:nvPr/>
          </p:nvSpPr>
          <p:spPr>
            <a:xfrm rot="5400000">
              <a:off x="118724" y="-118721"/>
              <a:ext cx="244473" cy="48192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63"/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1799C6BD-F4D5-5C54-C91C-6837A14C2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87" y="502476"/>
            <a:ext cx="3944157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E9B49CE-BDC1-8454-28D9-66F61AFE4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05A27E4-D861-48ED-30C3-A6FF82D47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634EC38-063A-7DCF-5B7B-079CC45EE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9183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1692" userDrawn="1">
          <p15:clr>
            <a:srgbClr val="FBAE40"/>
          </p15:clr>
        </p15:guide>
        <p15:guide id="4" pos="337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B0A44AA-D914-A1F7-CE51-DF439D0041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B11A4FE-3AD5-72D7-2008-4296FD475E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 smtClean="0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F960B38-137B-D0D3-036A-36AFC2DC7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893E5DD-FE82-3AE7-8C18-8BA854C8E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B00AF62-640F-F6ED-4F89-DDE17A7EB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05808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F8DCF6-A388-ACB6-10FD-35715A79E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ACEFFE5-877B-43D5-E935-1FA406EEA0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800759A-91D7-7E2D-D48C-31F1E7A30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318014D-3663-9CF5-8DC0-B3E4F9CB6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4032642-7749-0D9D-E71A-729A67307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6734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90CD8F7-B765-3CB6-9036-61B8EBDC7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D766499A-ED94-0F69-099E-87D5B933C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A43CC76-FD01-4D12-3976-5E659672B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97401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スライド" r:id="rId4" imgW="360" imgH="360" progId="">
                  <p:embed/>
                </p:oleObj>
              </mc:Choice>
              <mc:Fallback>
                <p:oleObj name="think-cell スライド" r:id="rId4" imgW="360" imgH="360" progId="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4"/>
          <p:cNvSpPr txBox="1">
            <a:spLocks/>
          </p:cNvSpPr>
          <p:nvPr/>
        </p:nvSpPr>
        <p:spPr>
          <a:xfrm>
            <a:off x="-46256" y="6599927"/>
            <a:ext cx="3343275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© SHIDAX</a:t>
            </a:r>
            <a:r>
              <a:rPr kumimoji="0" lang="ja-JP" alt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 </a:t>
            </a:r>
            <a:r>
              <a:rPr kumimoji="0" lang="en-US" altLang="ja-JP" sz="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CORPORATION. All Right Reserved.</a:t>
            </a:r>
            <a:endParaRPr kumimoji="0" lang="ja-JP" alt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5157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コンセプト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BDD35D31-6832-9600-6502-5D8764438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227789C-A8B0-8268-BBF5-20CF2186B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二等辺三角形 8">
            <a:extLst>
              <a:ext uri="{FF2B5EF4-FFF2-40B4-BE49-F238E27FC236}">
                <a16:creationId xmlns:a16="http://schemas.microsoft.com/office/drawing/2014/main" id="{296D36E1-7F64-C68D-D15E-95C425110F2A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80B8236-E12D-E74A-E6F4-0524E5C51449}"/>
              </a:ext>
            </a:extLst>
          </p:cNvPr>
          <p:cNvCxnSpPr>
            <a:cxnSpLocks/>
          </p:cNvCxnSpPr>
          <p:nvPr/>
        </p:nvCxnSpPr>
        <p:spPr>
          <a:xfrm>
            <a:off x="228601" y="6613525"/>
            <a:ext cx="8785019" cy="0"/>
          </a:xfrm>
          <a:prstGeom prst="line">
            <a:avLst/>
          </a:prstGeom>
          <a:ln w="19050" cap="rnd">
            <a:solidFill>
              <a:srgbClr val="6DA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スライド番号プレースホルダー 4">
            <a:extLst>
              <a:ext uri="{FF2B5EF4-FFF2-40B4-BE49-F238E27FC236}">
                <a16:creationId xmlns:a16="http://schemas.microsoft.com/office/drawing/2014/main" id="{5633C2A4-5F8C-3087-3D09-3E8F616B1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7E685F35-F5D7-147C-08F5-63DB9D2F6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87" y="502476"/>
            <a:ext cx="3944157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5BC68246-854D-E4F2-B5CB-8D5EA4EC3E54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4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</p:spTree>
    <p:extLst>
      <p:ext uri="{BB962C8B-B14F-4D97-AF65-F5344CB8AC3E}">
        <p14:creationId xmlns:p14="http://schemas.microsoft.com/office/powerpoint/2010/main" val="1423833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17E5A606-9BCF-A0BE-5530-F061B0D1A9E9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0725F7A-F03B-62FC-FB40-C795B06AD1DE}"/>
              </a:ext>
            </a:extLst>
          </p:cNvPr>
          <p:cNvCxnSpPr>
            <a:cxnSpLocks/>
          </p:cNvCxnSpPr>
          <p:nvPr/>
        </p:nvCxnSpPr>
        <p:spPr>
          <a:xfrm>
            <a:off x="241301" y="6613525"/>
            <a:ext cx="8785019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>
            <a:off x="622300" y="244475"/>
            <a:ext cx="9042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41301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932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41301" y="244476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41301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E536DD92-1CE0-8FC3-9F44-4468D55964E8}"/>
              </a:ext>
            </a:extLst>
          </p:cNvPr>
          <p:cNvGrpSpPr/>
          <p:nvPr/>
        </p:nvGrpSpPr>
        <p:grpSpPr>
          <a:xfrm>
            <a:off x="9016587" y="6347876"/>
            <a:ext cx="889414" cy="510124"/>
            <a:chOff x="9016586" y="6347876"/>
            <a:chExt cx="889414" cy="510124"/>
          </a:xfrm>
        </p:grpSpPr>
        <p:sp>
          <p:nvSpPr>
            <p:cNvPr id="14" name="フリーフォーム: 図形 13">
              <a:extLst>
                <a:ext uri="{FF2B5EF4-FFF2-40B4-BE49-F238E27FC236}">
                  <a16:creationId xmlns:a16="http://schemas.microsoft.com/office/drawing/2014/main" id="{DAC3624F-ADFC-E909-0416-AB4E67E01391}"/>
                </a:ext>
              </a:extLst>
            </p:cNvPr>
            <p:cNvSpPr/>
            <p:nvPr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 sz="1463"/>
            </a:p>
          </p:txBody>
        </p:sp>
        <p:sp>
          <p:nvSpPr>
            <p:cNvPr id="12" name="二等辺三角形 11">
              <a:extLst>
                <a:ext uri="{FF2B5EF4-FFF2-40B4-BE49-F238E27FC236}">
                  <a16:creationId xmlns:a16="http://schemas.microsoft.com/office/drawing/2014/main" id="{C88B6880-40F5-87BE-A379-EED42AA48211}"/>
                </a:ext>
              </a:extLst>
            </p:cNvPr>
            <p:cNvSpPr/>
            <p:nvPr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463"/>
            </a:p>
          </p:txBody>
        </p:sp>
      </p:grp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97295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19270" y="1107999"/>
            <a:ext cx="10025270" cy="575000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3">
                  <a:lumMod val="90000"/>
                  <a:alpha val="80000"/>
                </a:schemeClr>
              </a:gs>
              <a:gs pos="100000">
                <a:schemeClr val="accent3">
                  <a:lumMod val="75000"/>
                  <a:alpha val="8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41301" y="244476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41301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31394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19270" y="1107999"/>
            <a:ext cx="10025270" cy="575000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4">
                  <a:lumMod val="20000"/>
                  <a:lumOff val="8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41301" y="244476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41301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24285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/>
        </p:nvCxnSpPr>
        <p:spPr>
          <a:xfrm flipV="1">
            <a:off x="241301" y="244476"/>
            <a:ext cx="9423400" cy="3175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/>
        </p:nvCxnSpPr>
        <p:spPr>
          <a:xfrm>
            <a:off x="241301" y="935038"/>
            <a:ext cx="9423400" cy="0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70698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45320"/>
            <a:ext cx="3842334" cy="362407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1950" b="1" spc="244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3905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/>
        </p:nvSpPr>
        <p:spPr>
          <a:xfrm>
            <a:off x="9016587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 sz="1463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/>
        </p:nvSpPr>
        <p:spPr>
          <a:xfrm rot="16200000">
            <a:off x="9603570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63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7"/>
            <a:ext cx="2228850" cy="365125"/>
          </a:xfrm>
        </p:spPr>
        <p:txBody>
          <a:bodyPr/>
          <a:lstStyle>
            <a:lvl1pPr>
              <a:defRPr sz="894" b="1">
                <a:solidFill>
                  <a:schemeClr val="bg1"/>
                </a:solidFill>
                <a:latin typeface="+mn-lt"/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91585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2880" userDrawn="1">
          <p15:clr>
            <a:srgbClr val="FBAE40"/>
          </p15:clr>
        </p15:guide>
        <p15:guide id="3" pos="3378" userDrawn="1">
          <p15:clr>
            <a:srgbClr val="FBAE40"/>
          </p15:clr>
        </p15:guide>
        <p15:guide id="4" pos="169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3F29477B-7E4D-7D15-08E2-AE6FF866D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0EEB27B-E41B-55E0-D20E-A7527615C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1428736-CC99-05C5-4CB5-04BC5FA052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A1C24-DF2B-4163-A0E9-089AB705D98C}" type="datetimeFigureOut">
              <a:rPr kumimoji="1" lang="ja-JP" altLang="en-US" smtClean="0"/>
              <a:t>2024/12/16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5928B78-0132-BE7C-24DA-9C9643F1BF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96C078B-A296-D722-5F68-726FC72167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731097-7A6D-4E1B-AA9B-94C88DABA32E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00889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535" userDrawn="1">
          <p15:clr>
            <a:srgbClr val="F26B43"/>
          </p15:clr>
        </p15:guide>
        <p15:guide id="3" pos="117" userDrawn="1">
          <p15:clr>
            <a:srgbClr val="F26B43"/>
          </p15:clr>
        </p15:guide>
        <p15:guide id="4" pos="4953" userDrawn="1">
          <p15:clr>
            <a:srgbClr val="F26B43"/>
          </p15:clr>
        </p15:guide>
        <p15:guide id="5" orient="horz" pos="156" userDrawn="1">
          <p15:clr>
            <a:srgbClr val="F26B43"/>
          </p15:clr>
        </p15:guide>
        <p15:guide id="6" orient="horz" pos="4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.svg"/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7"/>
          <a:stretch/>
        </p:blipFill>
        <p:spPr>
          <a:xfrm>
            <a:off x="-15552" y="-27384"/>
            <a:ext cx="9906000" cy="6885384"/>
          </a:xfrm>
          <a:prstGeom prst="rect">
            <a:avLst/>
          </a:prstGeom>
        </p:spPr>
      </p:pic>
      <p:sp>
        <p:nvSpPr>
          <p:cNvPr id="4" name="フリーフォーム: 図形 3">
            <a:extLst>
              <a:ext uri="{FF2B5EF4-FFF2-40B4-BE49-F238E27FC236}">
                <a16:creationId xmlns:a16="http://schemas.microsoft.com/office/drawing/2014/main" id="{01DDF2D0-072D-2754-F20D-EC4514E08F09}"/>
              </a:ext>
            </a:extLst>
          </p:cNvPr>
          <p:cNvSpPr/>
          <p:nvPr/>
        </p:nvSpPr>
        <p:spPr bwMode="white">
          <a:xfrm rot="5400000">
            <a:off x="622765" y="-622765"/>
            <a:ext cx="1687812" cy="2933342"/>
          </a:xfrm>
          <a:custGeom>
            <a:avLst/>
            <a:gdLst>
              <a:gd name="connsiteX0" fmla="*/ 0 w 1687812"/>
              <a:gd name="connsiteY0" fmla="*/ 1672994 h 2933342"/>
              <a:gd name="connsiteX1" fmla="*/ 0 w 1687812"/>
              <a:gd name="connsiteY1" fmla="*/ 0 h 2933342"/>
              <a:gd name="connsiteX2" fmla="*/ 71785 w 1687812"/>
              <a:gd name="connsiteY2" fmla="*/ 5129 h 2933342"/>
              <a:gd name="connsiteX3" fmla="*/ 649289 w 1687812"/>
              <a:gd name="connsiteY3" fmla="*/ 367383 h 2933342"/>
              <a:gd name="connsiteX4" fmla="*/ 1102280 w 1687812"/>
              <a:gd name="connsiteY4" fmla="*/ 1588268 h 2933342"/>
              <a:gd name="connsiteX5" fmla="*/ 1342598 w 1687812"/>
              <a:gd name="connsiteY5" fmla="*/ 2430201 h 2933342"/>
              <a:gd name="connsiteX6" fmla="*/ 1653046 w 1687812"/>
              <a:gd name="connsiteY6" fmla="*/ 2905472 h 2933342"/>
              <a:gd name="connsiteX7" fmla="*/ 1687812 w 1687812"/>
              <a:gd name="connsiteY7" fmla="*/ 2933342 h 2933342"/>
              <a:gd name="connsiteX8" fmla="*/ 1133476 w 1687812"/>
              <a:gd name="connsiteY8" fmla="*/ 2933342 h 2933342"/>
              <a:gd name="connsiteX9" fmla="*/ 535847 w 1687812"/>
              <a:gd name="connsiteY9" fmla="*/ 2933342 h 2933342"/>
              <a:gd name="connsiteX10" fmla="*/ 1 w 1687812"/>
              <a:gd name="connsiteY10" fmla="*/ 2933342 h 2933342"/>
              <a:gd name="connsiteX11" fmla="*/ 1 w 1687812"/>
              <a:gd name="connsiteY11" fmla="*/ 1672998 h 293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87812" h="2933342">
                <a:moveTo>
                  <a:pt x="0" y="1672994"/>
                </a:moveTo>
                <a:lnTo>
                  <a:pt x="0" y="0"/>
                </a:lnTo>
                <a:lnTo>
                  <a:pt x="71785" y="5129"/>
                </a:lnTo>
                <a:cubicBezTo>
                  <a:pt x="305915" y="36504"/>
                  <a:pt x="517266" y="167522"/>
                  <a:pt x="649289" y="367383"/>
                </a:cubicBezTo>
                <a:cubicBezTo>
                  <a:pt x="649289" y="367383"/>
                  <a:pt x="904798" y="696657"/>
                  <a:pt x="1102280" y="1588268"/>
                </a:cubicBezTo>
                <a:cubicBezTo>
                  <a:pt x="1163880" y="1873884"/>
                  <a:pt x="1244158" y="2155121"/>
                  <a:pt x="1342598" y="2430201"/>
                </a:cubicBezTo>
                <a:cubicBezTo>
                  <a:pt x="1399179" y="2561915"/>
                  <a:pt x="1473644" y="2748407"/>
                  <a:pt x="1653046" y="2905472"/>
                </a:cubicBezTo>
                <a:lnTo>
                  <a:pt x="1687812" y="2933342"/>
                </a:lnTo>
                <a:lnTo>
                  <a:pt x="1133476" y="2933342"/>
                </a:lnTo>
                <a:lnTo>
                  <a:pt x="535847" y="2933342"/>
                </a:lnTo>
                <a:lnTo>
                  <a:pt x="1" y="2933342"/>
                </a:lnTo>
                <a:lnTo>
                  <a:pt x="1" y="16729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9" name="グラフィックス 28">
            <a:extLst>
              <a:ext uri="{FF2B5EF4-FFF2-40B4-BE49-F238E27FC236}">
                <a16:creationId xmlns:a16="http://schemas.microsoft.com/office/drawing/2014/main" id="{BD39C069-0B47-56E7-5CC1-F0AFC8BBA7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35280" y="290195"/>
            <a:ext cx="1600200" cy="363235"/>
          </a:xfrm>
          <a:prstGeom prst="rect">
            <a:avLst/>
          </a:prstGeom>
        </p:spPr>
      </p:pic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BE66B749-26DA-C7A2-1964-0CC178781A40}"/>
              </a:ext>
            </a:extLst>
          </p:cNvPr>
          <p:cNvSpPr/>
          <p:nvPr/>
        </p:nvSpPr>
        <p:spPr>
          <a:xfrm>
            <a:off x="2191593" y="2668486"/>
            <a:ext cx="7725643" cy="4189514"/>
          </a:xfrm>
          <a:custGeom>
            <a:avLst/>
            <a:gdLst>
              <a:gd name="connsiteX0" fmla="*/ 7725643 w 7725643"/>
              <a:gd name="connsiteY0" fmla="*/ 0 h 4189514"/>
              <a:gd name="connsiteX1" fmla="*/ 7725643 w 7725643"/>
              <a:gd name="connsiteY1" fmla="*/ 4189514 h 4189514"/>
              <a:gd name="connsiteX2" fmla="*/ 0 w 7725643"/>
              <a:gd name="connsiteY2" fmla="*/ 4189514 h 4189514"/>
              <a:gd name="connsiteX3" fmla="*/ 41708 w 7725643"/>
              <a:gd name="connsiteY3" fmla="*/ 3978128 h 4189514"/>
              <a:gd name="connsiteX4" fmla="*/ 951980 w 7725643"/>
              <a:gd name="connsiteY4" fmla="*/ 2706600 h 4189514"/>
              <a:gd name="connsiteX5" fmla="*/ 4194684 w 7725643"/>
              <a:gd name="connsiteY5" fmla="*/ 1503080 h 4189514"/>
              <a:gd name="connsiteX6" fmla="*/ 6430884 w 7725643"/>
              <a:gd name="connsiteY6" fmla="*/ 865153 h 4189514"/>
              <a:gd name="connsiteX7" fmla="*/ 7693093 w 7725643"/>
              <a:gd name="connsiteY7" fmla="*/ 40598 h 418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5643" h="4189514">
                <a:moveTo>
                  <a:pt x="7725643" y="0"/>
                </a:moveTo>
                <a:lnTo>
                  <a:pt x="7725643" y="4189514"/>
                </a:lnTo>
                <a:lnTo>
                  <a:pt x="0" y="4189514"/>
                </a:lnTo>
                <a:lnTo>
                  <a:pt x="41708" y="3978128"/>
                </a:lnTo>
                <a:cubicBezTo>
                  <a:pt x="176655" y="3462584"/>
                  <a:pt x="497252" y="3007244"/>
                  <a:pt x="951980" y="2706600"/>
                </a:cubicBezTo>
                <a:cubicBezTo>
                  <a:pt x="951980" y="2706600"/>
                  <a:pt x="1826540" y="2027961"/>
                  <a:pt x="4194684" y="1503080"/>
                </a:cubicBezTo>
                <a:cubicBezTo>
                  <a:pt x="4953294" y="1339689"/>
                  <a:pt x="5700260" y="1126614"/>
                  <a:pt x="6430884" y="865153"/>
                </a:cubicBezTo>
                <a:cubicBezTo>
                  <a:pt x="6780513" y="714872"/>
                  <a:pt x="7275863" y="517092"/>
                  <a:pt x="7693093" y="40598"/>
                </a:cubicBezTo>
                <a:close/>
              </a:path>
            </a:pathLst>
          </a:custGeom>
          <a:gradFill>
            <a:gsLst>
              <a:gs pos="30000">
                <a:srgbClr val="D22C25">
                  <a:alpha val="90000"/>
                </a:srgbClr>
              </a:gs>
              <a:gs pos="71000">
                <a:srgbClr val="D22C25">
                  <a:alpha val="70000"/>
                </a:srgbClr>
              </a:gs>
              <a:gs pos="100000">
                <a:srgbClr val="D22C25">
                  <a:alpha val="37000"/>
                </a:srgbClr>
              </a:gs>
            </a:gsLst>
            <a:lin ang="300000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E7F803D8-0841-1CF5-F8ED-15846DC12B07}"/>
              </a:ext>
            </a:extLst>
          </p:cNvPr>
          <p:cNvSpPr txBox="1"/>
          <p:nvPr/>
        </p:nvSpPr>
        <p:spPr bwMode="white">
          <a:xfrm>
            <a:off x="3200400" y="5715000"/>
            <a:ext cx="729642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kumimoji="1" lang="ja-JP" altLang="en-US" sz="3000" b="1" spc="300" dirty="0" smtClean="0">
                <a:solidFill>
                  <a:schemeClr val="bg1"/>
                </a:solidFill>
                <a:latin typeface="+mj-ea"/>
                <a:ea typeface="+mj-ea"/>
              </a:rPr>
              <a:t>焼き芋スイーツのご提案</a:t>
            </a:r>
            <a:endParaRPr kumimoji="1" lang="en-US" altLang="ja-JP" sz="3000" b="1" spc="3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7F803D8-0841-1CF5-F8ED-15846DC12B07}"/>
              </a:ext>
            </a:extLst>
          </p:cNvPr>
          <p:cNvSpPr txBox="1"/>
          <p:nvPr/>
        </p:nvSpPr>
        <p:spPr bwMode="white">
          <a:xfrm>
            <a:off x="3200400" y="5297013"/>
            <a:ext cx="18288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kumimoji="1" lang="en-US" altLang="ja-JP" sz="2500" b="1" spc="300" dirty="0" smtClean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3231930" y="5220069"/>
            <a:ext cx="317747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95"/>
            <a:r>
              <a:rPr lang="ja-JP" altLang="en-US" sz="2800" b="1" u="sng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n-ea"/>
                <a:ea typeface="+mn-ea"/>
              </a:rPr>
              <a:t>〇〇株式会社 御中</a:t>
            </a:r>
          </a:p>
        </p:txBody>
      </p:sp>
    </p:spTree>
    <p:extLst>
      <p:ext uri="{BB962C8B-B14F-4D97-AF65-F5344CB8AC3E}">
        <p14:creationId xmlns:p14="http://schemas.microsoft.com/office/powerpoint/2010/main" val="2419613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4646" y="445320"/>
            <a:ext cx="3279616" cy="362407"/>
          </a:xfrm>
        </p:spPr>
        <p:txBody>
          <a:bodyPr/>
          <a:lstStyle/>
          <a:p>
            <a:r>
              <a:rPr kumimoji="1" lang="ja-JP" altLang="en-US" dirty="0" smtClean="0"/>
              <a:t>焼き芋スイーツのご提案</a:t>
            </a:r>
            <a:endParaRPr kumimoji="1" lang="ja-JP" altLang="en-US" dirty="0"/>
          </a:p>
        </p:txBody>
      </p:sp>
      <p:sp>
        <p:nvSpPr>
          <p:cNvPr id="3" name="テキスト ボックス 2"/>
          <p:cNvSpPr txBox="1"/>
          <p:nvPr/>
        </p:nvSpPr>
        <p:spPr>
          <a:xfrm>
            <a:off x="519220" y="1848414"/>
            <a:ext cx="8791623" cy="3096000"/>
          </a:xfrm>
          <a:prstGeom prst="rect">
            <a:avLst/>
          </a:prstGeom>
          <a:noFill/>
          <a:ln w="63500" cmpd="thickThin"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kumimoji="1" lang="en-US" altLang="ja-JP" sz="2400" b="1" dirty="0" smtClean="0">
                <a:solidFill>
                  <a:schemeClr val="accent3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メイリオ" pitchFamily="50" charset="-128"/>
              </a:rPr>
              <a:t>Menu</a:t>
            </a: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  <a:p>
            <a:endParaRPr kumimoji="1" lang="en-US" altLang="ja-JP" sz="1400" b="1" dirty="0" smtClean="0">
              <a:solidFill>
                <a:srgbClr val="C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メイリオ" pitchFamily="50" charset="-128"/>
            </a:endParaRP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17AADB1-D445-45A7-84EA-FD9AAFC6F220}"/>
              </a:ext>
            </a:extLst>
          </p:cNvPr>
          <p:cNvSpPr/>
          <p:nvPr/>
        </p:nvSpPr>
        <p:spPr>
          <a:xfrm>
            <a:off x="519220" y="5167615"/>
            <a:ext cx="8791624" cy="11967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7292D3F2-79AC-4242-93F1-CBCFAB026629}"/>
              </a:ext>
            </a:extLst>
          </p:cNvPr>
          <p:cNvSpPr txBox="1"/>
          <p:nvPr/>
        </p:nvSpPr>
        <p:spPr>
          <a:xfrm>
            <a:off x="621688" y="5276234"/>
            <a:ext cx="85077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dirty="0">
                <a:solidFill>
                  <a:sysClr val="windowText" lastClr="000000"/>
                </a:solidFill>
                <a:latin typeface="+mn-ea"/>
              </a:rPr>
              <a:t>ご依頼事項</a:t>
            </a:r>
            <a:endParaRPr lang="en-US" altLang="ja-JP" sz="1400" dirty="0">
              <a:solidFill>
                <a:sysClr val="windowText" lastClr="000000"/>
              </a:solidFill>
              <a:latin typeface="+mn-ea"/>
            </a:endParaRPr>
          </a:p>
          <a:p>
            <a:r>
              <a:rPr kumimoji="1" lang="ja-JP" altLang="en-US" sz="1400" dirty="0" smtClean="0">
                <a:solidFill>
                  <a:sysClr val="windowText" lastClr="000000"/>
                </a:solidFill>
                <a:latin typeface="+mn-ea"/>
              </a:rPr>
              <a:t>①数量</a:t>
            </a:r>
            <a:r>
              <a:rPr kumimoji="1" lang="ja-JP" altLang="en-US" sz="1400" dirty="0">
                <a:solidFill>
                  <a:sysClr val="windowText" lastClr="000000"/>
                </a:solidFill>
                <a:latin typeface="+mn-ea"/>
              </a:rPr>
              <a:t>限定商品になります。数量について</a:t>
            </a:r>
            <a:r>
              <a:rPr kumimoji="1" lang="ja-JP" altLang="en-US" sz="1400" dirty="0" smtClean="0">
                <a:solidFill>
                  <a:sysClr val="windowText" lastClr="000000"/>
                </a:solidFill>
                <a:latin typeface="+mn-ea"/>
              </a:rPr>
              <a:t>は提供方法を含めご相談いたします。</a:t>
            </a:r>
            <a:endParaRPr kumimoji="1" lang="en-US" altLang="ja-JP" sz="1400" dirty="0">
              <a:solidFill>
                <a:sysClr val="windowText" lastClr="000000"/>
              </a:solidFill>
              <a:latin typeface="+mn-ea"/>
            </a:endParaRPr>
          </a:p>
          <a:p>
            <a:r>
              <a:rPr lang="ja-JP" altLang="en-US" sz="1400" dirty="0">
                <a:solidFill>
                  <a:sysClr val="windowText" lastClr="000000"/>
                </a:solidFill>
                <a:latin typeface="+mn-ea"/>
              </a:rPr>
              <a:t>②</a:t>
            </a:r>
            <a:r>
              <a:rPr lang="ja-JP" altLang="en-US" sz="1400" dirty="0" smtClean="0">
                <a:solidFill>
                  <a:sysClr val="windowText" lastClr="000000"/>
                </a:solidFill>
                <a:latin typeface="+mn-ea"/>
              </a:rPr>
              <a:t>売価</a:t>
            </a:r>
            <a:r>
              <a:rPr lang="ja-JP" altLang="en-US" sz="1400" dirty="0">
                <a:solidFill>
                  <a:sysClr val="windowText" lastClr="000000"/>
                </a:solidFill>
                <a:latin typeface="+mn-ea"/>
              </a:rPr>
              <a:t>設定について協議をさせていただきます。</a:t>
            </a:r>
            <a:endParaRPr kumimoji="1" lang="ja-JP" altLang="en-US" sz="1400" dirty="0">
              <a:solidFill>
                <a:sysClr val="windowText" lastClr="000000"/>
              </a:solidFill>
              <a:latin typeface="+mn-ea"/>
            </a:endParaRPr>
          </a:p>
        </p:txBody>
      </p:sp>
      <p:sp>
        <p:nvSpPr>
          <p:cNvPr id="6" name="四角形吹き出し 5"/>
          <p:cNvSpPr/>
          <p:nvPr/>
        </p:nvSpPr>
        <p:spPr>
          <a:xfrm>
            <a:off x="-1657474" y="1916832"/>
            <a:ext cx="1707529" cy="864096"/>
          </a:xfrm>
          <a:prstGeom prst="wedgeRectCallout">
            <a:avLst>
              <a:gd name="adj1" fmla="val 86668"/>
              <a:gd name="adj2" fmla="val 3173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状況に応じて修正ください</a:t>
            </a:r>
            <a:endParaRPr kumimoji="1" lang="ja-JP" altLang="en-US" dirty="0"/>
          </a:p>
        </p:txBody>
      </p:sp>
      <p:sp>
        <p:nvSpPr>
          <p:cNvPr id="7" name="正方形/長方形 6"/>
          <p:cNvSpPr/>
          <p:nvPr/>
        </p:nvSpPr>
        <p:spPr>
          <a:xfrm>
            <a:off x="272480" y="1035683"/>
            <a:ext cx="87849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/>
              <a:t>ほくほくの焼き芋</a:t>
            </a:r>
            <a:r>
              <a:rPr lang="ja-JP" altLang="en-US" sz="1600" dirty="0" smtClean="0"/>
              <a:t>にはちみつやバター、カラメル、アイスをトッピングしました。</a:t>
            </a:r>
            <a:endParaRPr lang="en-US" altLang="ja-JP" sz="1600" dirty="0" smtClean="0"/>
          </a:p>
          <a:p>
            <a:r>
              <a:rPr lang="ja-JP" altLang="en-US" sz="1600" dirty="0" smtClean="0"/>
              <a:t>とろける甘さと、お客様の目の前で炙る</a:t>
            </a:r>
            <a:r>
              <a:rPr lang="ja-JP" altLang="en-US" sz="1600" dirty="0"/>
              <a:t>香ばしさをお楽しみください。</a:t>
            </a:r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477" y="2294574"/>
            <a:ext cx="1777953" cy="25334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8878" y="2294573"/>
            <a:ext cx="1777952" cy="253346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278" y="2294573"/>
            <a:ext cx="1775514" cy="252357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3240" y="2294573"/>
            <a:ext cx="1778690" cy="252357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36647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テーマ1">
  <a:themeElements>
    <a:clrScheme name="シダックスコントラクトフードサービス様">
      <a:dk1>
        <a:sysClr val="windowText" lastClr="000000"/>
      </a:dk1>
      <a:lt1>
        <a:sysClr val="window" lastClr="FFFFFF"/>
      </a:lt1>
      <a:dk2>
        <a:srgbClr val="FEE6E6"/>
      </a:dk2>
      <a:lt2>
        <a:srgbClr val="FEF2E2"/>
      </a:lt2>
      <a:accent1>
        <a:srgbClr val="D22C25"/>
      </a:accent1>
      <a:accent2>
        <a:srgbClr val="FEE6E6"/>
      </a:accent2>
      <a:accent3>
        <a:srgbClr val="FEF2E2"/>
      </a:accent3>
      <a:accent4>
        <a:srgbClr val="6DAC2E"/>
      </a:accent4>
      <a:accent5>
        <a:srgbClr val="DAF3C5"/>
      </a:accent5>
      <a:accent6>
        <a:srgbClr val="595959"/>
      </a:accent6>
      <a:hlink>
        <a:srgbClr val="0563C1"/>
      </a:hlink>
      <a:folHlink>
        <a:srgbClr val="954F72"/>
      </a:folHlink>
    </a:clrScheme>
    <a:fontScheme name="シダックスコントラクトフードサービス様">
      <a:majorFont>
        <a:latin typeface="Arial"/>
        <a:ea typeface="游ゴシック"/>
        <a:cs typeface=""/>
      </a:majorFont>
      <a:minorFont>
        <a:latin typeface="Arial"/>
        <a:ea typeface="游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テーマ1" id="{8EBF648A-DF54-4EF1-A1AE-A77BE5947FA8}" vid="{5608BC54-8F87-4B7B-BC5E-3C1A971D15F6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テーマ1</Template>
  <TotalTime>77</TotalTime>
  <Words>81</Words>
  <Application>Microsoft Office PowerPoint</Application>
  <PresentationFormat>A4 210 x 297 mm</PresentationFormat>
  <Paragraphs>23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8" baseType="lpstr">
      <vt:lpstr>Meiryo UI</vt:lpstr>
      <vt:lpstr>メイリオ</vt:lpstr>
      <vt:lpstr>游ゴシック</vt:lpstr>
      <vt:lpstr>Arial</vt:lpstr>
      <vt:lpstr>テーマ1</vt:lpstr>
      <vt:lpstr>think-cell スライド</vt:lpstr>
      <vt:lpstr>PowerPoint プレゼンテーション</vt:lpstr>
      <vt:lpstr>焼き芋スイーツのご提案</vt:lpstr>
    </vt:vector>
  </TitlesOfParts>
  <Company>シダックス株式会社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夫松 遥那</dc:creator>
  <cp:lastModifiedBy>夫松 遥那</cp:lastModifiedBy>
  <cp:revision>7</cp:revision>
  <dcterms:created xsi:type="dcterms:W3CDTF">2024-12-11T00:30:33Z</dcterms:created>
  <dcterms:modified xsi:type="dcterms:W3CDTF">2024-12-16T02:31:48Z</dcterms:modified>
</cp:coreProperties>
</file>